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256" r:id="rId2"/>
  </p:sldIdLst>
  <p:sldSz cx="6858000" cy="9906000" type="A4"/>
  <p:notesSz cx="6858000" cy="9144000"/>
  <p:custDataLst>
    <p:tags r:id="rId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2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F6B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14E236-F71A-4CBF-A73D-FAB34559FB2B}" v="29" dt="2023-03-08T16:42:04.27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803" autoAdjust="0"/>
    <p:restoredTop sz="94660"/>
  </p:normalViewPr>
  <p:slideViewPr>
    <p:cSldViewPr snapToGrid="0" showGuides="1">
      <p:cViewPr varScale="1">
        <p:scale>
          <a:sx n="71" d="100"/>
          <a:sy n="71" d="100"/>
        </p:scale>
        <p:origin x="828" y="60"/>
      </p:cViewPr>
      <p:guideLst>
        <p:guide orient="horz" pos="312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6/11/relationships/changesInfo" Target="changesInfos/changesInfo1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Relationship Id="rId9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undgren Gestlöf, Johanna" userId="d43d54c6-3ac6-49c5-a060-2ab65d401f25" providerId="ADAL" clId="{0014E236-F71A-4CBF-A73D-FAB34559FB2B}"/>
    <pc:docChg chg="undo custSel modSld replTag">
      <pc:chgData name="Lundgren Gestlöf, Johanna" userId="d43d54c6-3ac6-49c5-a060-2ab65d401f25" providerId="ADAL" clId="{0014E236-F71A-4CBF-A73D-FAB34559FB2B}" dt="2023-03-08T16:42:39.960" v="297" actId="1076"/>
      <pc:docMkLst>
        <pc:docMk/>
      </pc:docMkLst>
      <pc:sldChg chg="addSp delSp modSp mod">
        <pc:chgData name="Lundgren Gestlöf, Johanna" userId="d43d54c6-3ac6-49c5-a060-2ab65d401f25" providerId="ADAL" clId="{0014E236-F71A-4CBF-A73D-FAB34559FB2B}" dt="2023-03-08T16:42:39.960" v="297" actId="1076"/>
        <pc:sldMkLst>
          <pc:docMk/>
          <pc:sldMk cId="1712697117" sldId="256"/>
        </pc:sldMkLst>
        <pc:spChg chg="add mod ord">
          <ac:chgData name="Lundgren Gestlöf, Johanna" userId="d43d54c6-3ac6-49c5-a060-2ab65d401f25" providerId="ADAL" clId="{0014E236-F71A-4CBF-A73D-FAB34559FB2B}" dt="2023-03-08T16:42:26.323" v="294" actId="1037"/>
          <ac:spMkLst>
            <pc:docMk/>
            <pc:sldMk cId="1712697117" sldId="256"/>
            <ac:spMk id="2" creationId="{EA40D723-FEA7-012C-85C7-F53B91AB1609}"/>
          </ac:spMkLst>
        </pc:spChg>
        <pc:spChg chg="mod ord">
          <ac:chgData name="Lundgren Gestlöf, Johanna" userId="d43d54c6-3ac6-49c5-a060-2ab65d401f25" providerId="ADAL" clId="{0014E236-F71A-4CBF-A73D-FAB34559FB2B}" dt="2023-03-08T16:41:49.395" v="268"/>
          <ac:spMkLst>
            <pc:docMk/>
            <pc:sldMk cId="1712697117" sldId="256"/>
            <ac:spMk id="8" creationId="{1F2520EF-0C53-4FE4-94F0-8D453FC8D448}"/>
          </ac:spMkLst>
        </pc:spChg>
        <pc:spChg chg="add del">
          <ac:chgData name="Lundgren Gestlöf, Johanna" userId="d43d54c6-3ac6-49c5-a060-2ab65d401f25" providerId="ADAL" clId="{0014E236-F71A-4CBF-A73D-FAB34559FB2B}" dt="2023-03-08T16:40:02.595" v="257" actId="22"/>
          <ac:spMkLst>
            <pc:docMk/>
            <pc:sldMk cId="1712697117" sldId="256"/>
            <ac:spMk id="9" creationId="{4294D21E-0EAA-1AEA-A8AE-E681CD500716}"/>
          </ac:spMkLst>
        </pc:spChg>
        <pc:spChg chg="del mod ord">
          <ac:chgData name="Lundgren Gestlöf, Johanna" userId="d43d54c6-3ac6-49c5-a060-2ab65d401f25" providerId="ADAL" clId="{0014E236-F71A-4CBF-A73D-FAB34559FB2B}" dt="2023-03-08T16:37:08.237" v="240" actId="478"/>
          <ac:spMkLst>
            <pc:docMk/>
            <pc:sldMk cId="1712697117" sldId="256"/>
            <ac:spMk id="13" creationId="{42DF335A-8D2A-4360-AC3E-AEB3F5FFA33B}"/>
          </ac:spMkLst>
        </pc:spChg>
        <pc:graphicFrameChg chg="mod">
          <ac:chgData name="Lundgren Gestlöf, Johanna" userId="d43d54c6-3ac6-49c5-a060-2ab65d401f25" providerId="ADAL" clId="{0014E236-F71A-4CBF-A73D-FAB34559FB2B}" dt="2023-03-08T16:41:49.405" v="276"/>
          <ac:graphicFrameMkLst>
            <pc:docMk/>
            <pc:sldMk cId="1712697117" sldId="256"/>
            <ac:graphicFrameMk id="5" creationId="{2D87141E-8721-44AB-B9D1-7ED394E0DD17}"/>
          </ac:graphicFrameMkLst>
        </pc:graphicFrameChg>
        <pc:picChg chg="add del mod ord">
          <ac:chgData name="Lundgren Gestlöf, Johanna" userId="d43d54c6-3ac6-49c5-a060-2ab65d401f25" providerId="ADAL" clId="{0014E236-F71A-4CBF-A73D-FAB34559FB2B}" dt="2023-03-08T16:41:52.197" v="277" actId="478"/>
          <ac:picMkLst>
            <pc:docMk/>
            <pc:sldMk cId="1712697117" sldId="256"/>
            <ac:picMk id="3" creationId="{139AF0D4-72F0-314B-E6D9-BC2F78DA430D}"/>
          </ac:picMkLst>
        </pc:picChg>
        <pc:picChg chg="mod">
          <ac:chgData name="Lundgren Gestlöf, Johanna" userId="d43d54c6-3ac6-49c5-a060-2ab65d401f25" providerId="ADAL" clId="{0014E236-F71A-4CBF-A73D-FAB34559FB2B}" dt="2023-03-08T16:41:49.394" v="266"/>
          <ac:picMkLst>
            <pc:docMk/>
            <pc:sldMk cId="1712697117" sldId="256"/>
            <ac:picMk id="6" creationId="{2A1AEE23-0F5D-44FC-94A8-0AC600A172D3}"/>
          </ac:picMkLst>
        </pc:picChg>
        <pc:picChg chg="del">
          <ac:chgData name="Lundgren Gestlöf, Johanna" userId="d43d54c6-3ac6-49c5-a060-2ab65d401f25" providerId="ADAL" clId="{0014E236-F71A-4CBF-A73D-FAB34559FB2B}" dt="2023-01-27T10:14:35.630" v="17" actId="478"/>
          <ac:picMkLst>
            <pc:docMk/>
            <pc:sldMk cId="1712697117" sldId="256"/>
            <ac:picMk id="10" creationId="{6A5A4E1D-CE8A-4F2F-93B5-3EF98555E756}"/>
          </ac:picMkLst>
        </pc:picChg>
        <pc:picChg chg="add mod">
          <ac:chgData name="Lundgren Gestlöf, Johanna" userId="d43d54c6-3ac6-49c5-a060-2ab65d401f25" providerId="ADAL" clId="{0014E236-F71A-4CBF-A73D-FAB34559FB2B}" dt="2023-03-08T16:42:15.092" v="282" actId="1076"/>
          <ac:picMkLst>
            <pc:docMk/>
            <pc:sldMk cId="1712697117" sldId="256"/>
            <ac:picMk id="11" creationId="{7BBAC221-57EE-462F-E28B-D9D467B4F0CE}"/>
          </ac:picMkLst>
        </pc:picChg>
        <pc:picChg chg="del">
          <ac:chgData name="Lundgren Gestlöf, Johanna" userId="d43d54c6-3ac6-49c5-a060-2ab65d401f25" providerId="ADAL" clId="{0014E236-F71A-4CBF-A73D-FAB34559FB2B}" dt="2023-01-27T10:14:33.423" v="16" actId="478"/>
          <ac:picMkLst>
            <pc:docMk/>
            <pc:sldMk cId="1712697117" sldId="256"/>
            <ac:picMk id="1026" creationId="{8AE02561-245F-44C0-AB20-24C33CEC0D4A}"/>
          </ac:picMkLst>
        </pc:picChg>
        <pc:picChg chg="add mod">
          <ac:chgData name="Lundgren Gestlöf, Johanna" userId="d43d54c6-3ac6-49c5-a060-2ab65d401f25" providerId="ADAL" clId="{0014E236-F71A-4CBF-A73D-FAB34559FB2B}" dt="2023-03-08T16:41:49.394" v="263"/>
          <ac:picMkLst>
            <pc:docMk/>
            <pc:sldMk cId="1712697117" sldId="256"/>
            <ac:picMk id="1026" creationId="{A04600B7-5FAF-3341-5988-353DC5AF1EA5}"/>
          </ac:picMkLst>
        </pc:picChg>
        <pc:cxnChg chg="add mod ord">
          <ac:chgData name="Lundgren Gestlöf, Johanna" userId="d43d54c6-3ac6-49c5-a060-2ab65d401f25" providerId="ADAL" clId="{0014E236-F71A-4CBF-A73D-FAB34559FB2B}" dt="2023-03-08T16:42:39.960" v="297" actId="1076"/>
          <ac:cxnSpMkLst>
            <pc:docMk/>
            <pc:sldMk cId="1712697117" sldId="256"/>
            <ac:cxnSpMk id="4" creationId="{14B479BE-4810-D993-BA29-1D50100C3CC9}"/>
          </ac:cxnSpMkLst>
        </pc:cxn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621191"/>
            <a:ext cx="5829300" cy="3448756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C5F9CE-BD2E-4BFA-B512-8762952E358A}" type="datetimeFigureOut">
              <a:rPr lang="sv-SE" smtClean="0"/>
              <a:t>2023-03-08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C746-F4D8-4880-9DD8-934E6438695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354931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C5F9CE-BD2E-4BFA-B512-8762952E358A}" type="datetimeFigureOut">
              <a:rPr lang="sv-SE" smtClean="0"/>
              <a:t>2023-03-08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C746-F4D8-4880-9DD8-934E6438695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747510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527403"/>
            <a:ext cx="1478756" cy="839487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527403"/>
            <a:ext cx="4350544" cy="839487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C5F9CE-BD2E-4BFA-B512-8762952E358A}" type="datetimeFigureOut">
              <a:rPr lang="sv-SE" smtClean="0"/>
              <a:t>2023-03-08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C746-F4D8-4880-9DD8-934E6438695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378105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C5F9CE-BD2E-4BFA-B512-8762952E358A}" type="datetimeFigureOut">
              <a:rPr lang="sv-SE" smtClean="0"/>
              <a:t>2023-03-08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C746-F4D8-4880-9DD8-934E6438695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524387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469624"/>
            <a:ext cx="5915025" cy="412062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629226"/>
            <a:ext cx="5915025" cy="21669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C5F9CE-BD2E-4BFA-B512-8762952E358A}" type="datetimeFigureOut">
              <a:rPr lang="sv-SE" smtClean="0"/>
              <a:t>2023-03-08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C746-F4D8-4880-9DD8-934E6438695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50403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C5F9CE-BD2E-4BFA-B512-8762952E358A}" type="datetimeFigureOut">
              <a:rPr lang="sv-SE" smtClean="0"/>
              <a:t>2023-03-08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C746-F4D8-4880-9DD8-934E6438695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275513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27405"/>
            <a:ext cx="5915025" cy="191470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428347"/>
            <a:ext cx="2915543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618442"/>
            <a:ext cx="2915543" cy="5322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C5F9CE-BD2E-4BFA-B512-8762952E358A}" type="datetimeFigureOut">
              <a:rPr lang="sv-SE" smtClean="0"/>
              <a:t>2023-03-08</a:t>
            </a:fld>
            <a:endParaRPr lang="sv-S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C746-F4D8-4880-9DD8-934E6438695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020345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C5F9CE-BD2E-4BFA-B512-8762952E358A}" type="datetimeFigureOut">
              <a:rPr lang="sv-SE" smtClean="0"/>
              <a:t>2023-03-08</a:t>
            </a:fld>
            <a:endParaRPr lang="sv-S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C746-F4D8-4880-9DD8-934E6438695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68033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C5F9CE-BD2E-4BFA-B512-8762952E358A}" type="datetimeFigureOut">
              <a:rPr lang="sv-SE" smtClean="0"/>
              <a:t>2023-03-08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C746-F4D8-4880-9DD8-934E6438695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671383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426283"/>
            <a:ext cx="3471863" cy="703968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C5F9CE-BD2E-4BFA-B512-8762952E358A}" type="datetimeFigureOut">
              <a:rPr lang="sv-SE" smtClean="0"/>
              <a:t>2023-03-08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C746-F4D8-4880-9DD8-934E6438695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202551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426283"/>
            <a:ext cx="3471863" cy="7039681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C5F9CE-BD2E-4BFA-B512-8762952E358A}" type="datetimeFigureOut">
              <a:rPr lang="sv-SE" smtClean="0"/>
              <a:t>2023-03-08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81C746-F4D8-4880-9DD8-934E6438695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173749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527405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C5F9CE-BD2E-4BFA-B512-8762952E358A}" type="datetimeFigureOut">
              <a:rPr lang="sv-SE" smtClean="0"/>
              <a:t>2023-03-08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9181397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81C746-F4D8-4880-9DD8-934E64386953}" type="slidenum">
              <a:rPr lang="sv-SE" smtClean="0"/>
              <a:t>‹#›</a:t>
            </a:fld>
            <a:endParaRPr lang="sv-SE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3D31790-5461-48B7-96F0-12F8AD22E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138278977"/>
              </p:ext>
            </p:extLst>
          </p:nvPr>
        </p:nvGraphicFramePr>
        <p:xfrm>
          <a:off x="893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92" imgH="595" progId="TCLayout.ActiveDocument.1">
                  <p:embed/>
                </p:oleObj>
              </mc:Choice>
              <mc:Fallback>
                <p:oleObj name="think-cell Slide" r:id="rId14" imgW="592" imgH="59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3D31790-5461-48B7-96F0-12F8AD22E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893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29088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D87141E-8721-44AB-B9D1-7ED394E0DD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9719187"/>
              </p:ext>
            </p:extLst>
          </p:nvPr>
        </p:nvGraphicFramePr>
        <p:xfrm>
          <a:off x="-1648706" y="2294"/>
          <a:ext cx="2294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D87141E-8721-44AB-B9D1-7ED394E0DD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648706" y="2294"/>
                        <a:ext cx="2294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>
            <a:extLst>
              <a:ext uri="{FF2B5EF4-FFF2-40B4-BE49-F238E27FC236}">
                <a16:creationId xmlns:a16="http://schemas.microsoft.com/office/drawing/2014/main" id="{A04600B7-5FAF-3341-5988-353DC5AF1E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285" y="5761754"/>
            <a:ext cx="5685430" cy="3770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Södertelge VBK - Volleyboll - IdrottOnline Klubb">
            <a:extLst>
              <a:ext uri="{FF2B5EF4-FFF2-40B4-BE49-F238E27FC236}">
                <a16:creationId xmlns:a16="http://schemas.microsoft.com/office/drawing/2014/main" id="{2A1AEE23-0F5D-44FC-94A8-0AC600A172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7657" y="8513064"/>
            <a:ext cx="1511546" cy="1169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F2520EF-0C53-4FE4-94F0-8D453FC8D448}"/>
              </a:ext>
            </a:extLst>
          </p:cNvPr>
          <p:cNvSpPr txBox="1"/>
          <p:nvPr/>
        </p:nvSpPr>
        <p:spPr>
          <a:xfrm>
            <a:off x="265176" y="717851"/>
            <a:ext cx="6327648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2400" b="1" dirty="0">
                <a:solidFill>
                  <a:srgbClr val="0F6B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ktig hemmamatch i volleybollens elitserie:</a:t>
            </a:r>
          </a:p>
          <a:p>
            <a:pPr algn="ctr"/>
            <a:endParaRPr lang="sv-SE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sv-SE" sz="3200" b="1" dirty="0">
                <a:latin typeface="Arial" panose="020B0604020202020204" pitchFamily="34" charset="0"/>
                <a:cs typeface="Arial" panose="020B0604020202020204" pitchFamily="34" charset="0"/>
              </a:rPr>
              <a:t>SÖDERTELGE VBK – XXX</a:t>
            </a:r>
          </a:p>
          <a:p>
            <a:pPr algn="ctr"/>
            <a:endParaRPr lang="sv-SE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sv-SE" sz="2400" b="1" dirty="0">
                <a:solidFill>
                  <a:srgbClr val="0F6B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 och heja fram </a:t>
            </a:r>
            <a:r>
              <a:rPr lang="sv-SE" sz="2400" b="1" dirty="0" err="1">
                <a:solidFill>
                  <a:srgbClr val="0F6B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ödertelge</a:t>
            </a:r>
            <a:r>
              <a:rPr lang="sv-SE" sz="2400" b="1" dirty="0">
                <a:solidFill>
                  <a:srgbClr val="0F6B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olleybollklubbs herrlag i matchen mot XX!</a:t>
            </a:r>
          </a:p>
          <a:p>
            <a:pPr algn="ctr"/>
            <a:endParaRPr lang="sv-SE" sz="2400" b="1" dirty="0">
              <a:solidFill>
                <a:srgbClr val="0F6B3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sv-SE" sz="2000" dirty="0">
                <a:solidFill>
                  <a:srgbClr val="0F6B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d: </a:t>
            </a:r>
            <a:r>
              <a:rPr lang="sv-SE" sz="2000" dirty="0" err="1">
                <a:solidFill>
                  <a:srgbClr val="0F6B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dag</a:t>
            </a:r>
            <a:r>
              <a:rPr lang="sv-SE" sz="2000" dirty="0">
                <a:solidFill>
                  <a:srgbClr val="0F6B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2000" dirty="0" err="1">
                <a:solidFill>
                  <a:srgbClr val="0F6B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e</a:t>
            </a:r>
            <a:r>
              <a:rPr lang="sv-SE" sz="2000" dirty="0">
                <a:solidFill>
                  <a:srgbClr val="0F6B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xxx, kl. XX.XX</a:t>
            </a:r>
          </a:p>
          <a:p>
            <a:pPr algn="ctr"/>
            <a:r>
              <a:rPr lang="sv-SE" sz="2000" dirty="0">
                <a:solidFill>
                  <a:srgbClr val="0F6B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ts: </a:t>
            </a:r>
            <a:r>
              <a:rPr lang="sv-SE" sz="2000" dirty="0" err="1">
                <a:solidFill>
                  <a:srgbClr val="0F6B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äljehallen</a:t>
            </a:r>
            <a:endParaRPr lang="sv-SE" sz="2000" dirty="0">
              <a:solidFill>
                <a:srgbClr val="0F6B3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sv-SE" sz="2000" dirty="0">
                <a:solidFill>
                  <a:srgbClr val="0F6B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äde: 50 kr. Ungdomar under 18 år går in grati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A40D723-FEA7-012C-85C7-F53B91AB1609}"/>
              </a:ext>
            </a:extLst>
          </p:cNvPr>
          <p:cNvSpPr txBox="1"/>
          <p:nvPr/>
        </p:nvSpPr>
        <p:spPr>
          <a:xfrm rot="19910596">
            <a:off x="-43363" y="5331731"/>
            <a:ext cx="14437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400" dirty="0">
                <a:latin typeface="Ink Free" panose="03080402000500000000" pitchFamily="66" charset="0"/>
              </a:rPr>
              <a:t>Mer info</a:t>
            </a:r>
          </a:p>
        </p:txBody>
      </p:sp>
      <p:cxnSp>
        <p:nvCxnSpPr>
          <p:cNvPr id="4" name="Connector: Curved 3">
            <a:extLst>
              <a:ext uri="{FF2B5EF4-FFF2-40B4-BE49-F238E27FC236}">
                <a16:creationId xmlns:a16="http://schemas.microsoft.com/office/drawing/2014/main" id="{14B479BE-4810-D993-BA29-1D50100C3CC9}"/>
              </a:ext>
            </a:extLst>
          </p:cNvPr>
          <p:cNvCxnSpPr>
            <a:cxnSpLocks/>
          </p:cNvCxnSpPr>
          <p:nvPr/>
        </p:nvCxnSpPr>
        <p:spPr>
          <a:xfrm rot="16200000" flipH="1">
            <a:off x="40556" y="6054436"/>
            <a:ext cx="622880" cy="462154"/>
          </a:xfrm>
          <a:prstGeom prst="curvedConnector2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Qr code&#10;&#10;Description automatically generated">
            <a:extLst>
              <a:ext uri="{FF2B5EF4-FFF2-40B4-BE49-F238E27FC236}">
                <a16:creationId xmlns:a16="http://schemas.microsoft.com/office/drawing/2014/main" id="{7BBAC221-57EE-462F-E28B-D9D467B4F0C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710" y="5774870"/>
            <a:ext cx="1524000" cy="15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6971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9</TotalTime>
  <Words>50</Words>
  <Application>Microsoft Office PowerPoint</Application>
  <PresentationFormat>A4 Paper (210x297 mm)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Ink Free</vt:lpstr>
      <vt:lpstr>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ndgren Gestlöf, Johanna</dc:creator>
  <cp:lastModifiedBy>Lundgren Gestlöf, Johanna</cp:lastModifiedBy>
  <cp:revision>1</cp:revision>
  <dcterms:created xsi:type="dcterms:W3CDTF">2021-12-16T16:42:53Z</dcterms:created>
  <dcterms:modified xsi:type="dcterms:W3CDTF">2023-03-08T16:42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c3d8a03-6c4f-48cf-a1a6-1b38e749645c_Enabled">
    <vt:lpwstr>true</vt:lpwstr>
  </property>
  <property fmtid="{D5CDD505-2E9C-101B-9397-08002B2CF9AE}" pid="3" name="MSIP_Label_8c3d8a03-6c4f-48cf-a1a6-1b38e749645c_SetDate">
    <vt:lpwstr>2021-12-16T16:42:53Z</vt:lpwstr>
  </property>
  <property fmtid="{D5CDD505-2E9C-101B-9397-08002B2CF9AE}" pid="4" name="MSIP_Label_8c3d8a03-6c4f-48cf-a1a6-1b38e749645c_Method">
    <vt:lpwstr>Standard</vt:lpwstr>
  </property>
  <property fmtid="{D5CDD505-2E9C-101B-9397-08002B2CF9AE}" pid="5" name="MSIP_Label_8c3d8a03-6c4f-48cf-a1a6-1b38e749645c_Name">
    <vt:lpwstr>Internal</vt:lpwstr>
  </property>
  <property fmtid="{D5CDD505-2E9C-101B-9397-08002B2CF9AE}" pid="6" name="MSIP_Label_8c3d8a03-6c4f-48cf-a1a6-1b38e749645c_SiteId">
    <vt:lpwstr>44b5383f-aeed-4959-a674-24d907b93966</vt:lpwstr>
  </property>
  <property fmtid="{D5CDD505-2E9C-101B-9397-08002B2CF9AE}" pid="7" name="MSIP_Label_8c3d8a03-6c4f-48cf-a1a6-1b38e749645c_ActionId">
    <vt:lpwstr>75cec3fa-5c81-4854-98a4-1fd77222c3db</vt:lpwstr>
  </property>
  <property fmtid="{D5CDD505-2E9C-101B-9397-08002B2CF9AE}" pid="8" name="MSIP_Label_8c3d8a03-6c4f-48cf-a1a6-1b38e749645c_ContentBits">
    <vt:lpwstr>0</vt:lpwstr>
  </property>
</Properties>
</file>